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66" r:id="rId5"/>
    <p:sldId id="257" r:id="rId6"/>
    <p:sldId id="263" r:id="rId7"/>
    <p:sldId id="265" r:id="rId8"/>
    <p:sldId id="258" r:id="rId9"/>
    <p:sldId id="259" r:id="rId10"/>
    <p:sldId id="261" r:id="rId11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orient="horz" pos="3929" userDrawn="1">
          <p15:clr>
            <a:srgbClr val="A4A3A4"/>
          </p15:clr>
        </p15:guide>
        <p15:guide id="4" pos="7287" userDrawn="1">
          <p15:clr>
            <a:srgbClr val="A4A3A4"/>
          </p15:clr>
        </p15:guide>
        <p15:guide id="5" orient="horz" pos="4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77777"/>
    <a:srgbClr val="E1D0DD"/>
    <a:srgbClr val="C6A4BA"/>
    <a:srgbClr val="85A0BF"/>
    <a:srgbClr val="8484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E03C0F-FEF4-4415-846B-D653E70FA551}" v="2" dt="2023-10-27T20:25:57.272"/>
    <p1510:client id="{6DBDD93B-0C14-410B-9670-FCB3C907BF57}" v="8" dt="2023-10-27T11:22:58.6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59" autoAdjust="0"/>
    <p:restoredTop sz="96242" autoAdjust="0"/>
  </p:normalViewPr>
  <p:slideViewPr>
    <p:cSldViewPr showGuides="1">
      <p:cViewPr varScale="1">
        <p:scale>
          <a:sx n="77" d="100"/>
          <a:sy n="77" d="100"/>
        </p:scale>
        <p:origin x="476" y="72"/>
      </p:cViewPr>
      <p:guideLst>
        <p:guide orient="horz" pos="1117"/>
        <p:guide pos="438"/>
        <p:guide orient="horz" pos="3929"/>
        <p:guide pos="7287"/>
        <p:guide orient="horz" pos="4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8" d="100"/>
          <a:sy n="88" d="100"/>
        </p:scale>
        <p:origin x="361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rer, Zeynep" userId="8ffac2ea-82bc-46f8-a762-fb0ec2ecbc56" providerId="ADAL" clId="{6DBDD93B-0C14-410B-9670-FCB3C907BF57}"/>
    <pc:docChg chg="undo custSel addSld delSld modSld">
      <pc:chgData name="Arer, Zeynep" userId="8ffac2ea-82bc-46f8-a762-fb0ec2ecbc56" providerId="ADAL" clId="{6DBDD93B-0C14-410B-9670-FCB3C907BF57}" dt="2023-10-27T11:24:16.427" v="2102" actId="2165"/>
      <pc:docMkLst>
        <pc:docMk/>
      </pc:docMkLst>
      <pc:sldChg chg="delSp modSp mod">
        <pc:chgData name="Arer, Zeynep" userId="8ffac2ea-82bc-46f8-a762-fb0ec2ecbc56" providerId="ADAL" clId="{6DBDD93B-0C14-410B-9670-FCB3C907BF57}" dt="2023-10-27T11:08:32.824" v="871" actId="5793"/>
        <pc:sldMkLst>
          <pc:docMk/>
          <pc:sldMk cId="839317597" sldId="257"/>
        </pc:sldMkLst>
        <pc:spChg chg="del mod">
          <ac:chgData name="Arer, Zeynep" userId="8ffac2ea-82bc-46f8-a762-fb0ec2ecbc56" providerId="ADAL" clId="{6DBDD93B-0C14-410B-9670-FCB3C907BF57}" dt="2023-10-27T11:05:12.537" v="837" actId="478"/>
          <ac:spMkLst>
            <pc:docMk/>
            <pc:sldMk cId="839317597" sldId="257"/>
            <ac:spMk id="4" creationId="{0A667314-04B3-46AF-9A1F-FAAE3F175BD2}"/>
          </ac:spMkLst>
        </pc:spChg>
        <pc:spChg chg="mod">
          <ac:chgData name="Arer, Zeynep" userId="8ffac2ea-82bc-46f8-a762-fb0ec2ecbc56" providerId="ADAL" clId="{6DBDD93B-0C14-410B-9670-FCB3C907BF57}" dt="2023-10-27T11:05:16.195" v="838" actId="20577"/>
          <ac:spMkLst>
            <pc:docMk/>
            <pc:sldMk cId="839317597" sldId="257"/>
            <ac:spMk id="15" creationId="{87A37D7D-7E73-4745-A202-997C62F51A8F}"/>
          </ac:spMkLst>
        </pc:spChg>
        <pc:spChg chg="mod">
          <ac:chgData name="Arer, Zeynep" userId="8ffac2ea-82bc-46f8-a762-fb0ec2ecbc56" providerId="ADAL" clId="{6DBDD93B-0C14-410B-9670-FCB3C907BF57}" dt="2023-10-27T11:08:31.679" v="869" actId="5793"/>
          <ac:spMkLst>
            <pc:docMk/>
            <pc:sldMk cId="839317597" sldId="257"/>
            <ac:spMk id="27" creationId="{DCF01C23-ACF7-4E0E-9725-124053753415}"/>
          </ac:spMkLst>
        </pc:spChg>
        <pc:spChg chg="mod">
          <ac:chgData name="Arer, Zeynep" userId="8ffac2ea-82bc-46f8-a762-fb0ec2ecbc56" providerId="ADAL" clId="{6DBDD93B-0C14-410B-9670-FCB3C907BF57}" dt="2023-10-27T11:05:24.929" v="839" actId="20577"/>
          <ac:spMkLst>
            <pc:docMk/>
            <pc:sldMk cId="839317597" sldId="257"/>
            <ac:spMk id="43" creationId="{C68F3923-2A16-4C91-836C-EF16F6484113}"/>
          </ac:spMkLst>
        </pc:spChg>
        <pc:spChg chg="mod">
          <ac:chgData name="Arer, Zeynep" userId="8ffac2ea-82bc-46f8-a762-fb0ec2ecbc56" providerId="ADAL" clId="{6DBDD93B-0C14-410B-9670-FCB3C907BF57}" dt="2023-10-27T11:08:32.824" v="871" actId="5793"/>
          <ac:spMkLst>
            <pc:docMk/>
            <pc:sldMk cId="839317597" sldId="257"/>
            <ac:spMk id="47" creationId="{14E05CFB-84ED-4C0C-905A-0AA598AA9853}"/>
          </ac:spMkLst>
        </pc:spChg>
        <pc:picChg chg="del">
          <ac:chgData name="Arer, Zeynep" userId="8ffac2ea-82bc-46f8-a762-fb0ec2ecbc56" providerId="ADAL" clId="{6DBDD93B-0C14-410B-9670-FCB3C907BF57}" dt="2023-10-27T10:46:03.012" v="263"/>
          <ac:picMkLst>
            <pc:docMk/>
            <pc:sldMk cId="839317597" sldId="257"/>
            <ac:picMk id="8" creationId="{5AAAA092-2A48-3E6D-FCB6-58617130AA84}"/>
          </ac:picMkLst>
        </pc:picChg>
      </pc:sldChg>
      <pc:sldChg chg="modSp mod">
        <pc:chgData name="Arer, Zeynep" userId="8ffac2ea-82bc-46f8-a762-fb0ec2ecbc56" providerId="ADAL" clId="{6DBDD93B-0C14-410B-9670-FCB3C907BF57}" dt="2023-10-27T10:59:15.615" v="762" actId="255"/>
        <pc:sldMkLst>
          <pc:docMk/>
          <pc:sldMk cId="2228839296" sldId="258"/>
        </pc:sldMkLst>
        <pc:graphicFrameChg chg="mod modGraphic">
          <ac:chgData name="Arer, Zeynep" userId="8ffac2ea-82bc-46f8-a762-fb0ec2ecbc56" providerId="ADAL" clId="{6DBDD93B-0C14-410B-9670-FCB3C907BF57}" dt="2023-10-27T10:59:15.615" v="762" actId="255"/>
          <ac:graphicFrameMkLst>
            <pc:docMk/>
            <pc:sldMk cId="2228839296" sldId="258"/>
            <ac:graphicFrameMk id="6" creationId="{17754BDA-7893-418A-B433-08E7D38599E4}"/>
          </ac:graphicFrameMkLst>
        </pc:graphicFrameChg>
      </pc:sldChg>
      <pc:sldChg chg="modSp add del mod">
        <pc:chgData name="Arer, Zeynep" userId="8ffac2ea-82bc-46f8-a762-fb0ec2ecbc56" providerId="ADAL" clId="{6DBDD93B-0C14-410B-9670-FCB3C907BF57}" dt="2023-10-27T11:22:45.792" v="1920" actId="20577"/>
        <pc:sldMkLst>
          <pc:docMk/>
          <pc:sldMk cId="195194428" sldId="259"/>
        </pc:sldMkLst>
        <pc:graphicFrameChg chg="mod modGraphic">
          <ac:chgData name="Arer, Zeynep" userId="8ffac2ea-82bc-46f8-a762-fb0ec2ecbc56" providerId="ADAL" clId="{6DBDD93B-0C14-410B-9670-FCB3C907BF57}" dt="2023-10-27T11:22:45.792" v="1920" actId="20577"/>
          <ac:graphicFrameMkLst>
            <pc:docMk/>
            <pc:sldMk cId="195194428" sldId="259"/>
            <ac:graphicFrameMk id="6" creationId="{17754BDA-7893-418A-B433-08E7D38599E4}"/>
          </ac:graphicFrameMkLst>
        </pc:graphicFrameChg>
      </pc:sldChg>
      <pc:sldChg chg="modSp del mod">
        <pc:chgData name="Arer, Zeynep" userId="8ffac2ea-82bc-46f8-a762-fb0ec2ecbc56" providerId="ADAL" clId="{6DBDD93B-0C14-410B-9670-FCB3C907BF57}" dt="2023-10-27T10:53:52.486" v="761" actId="2696"/>
        <pc:sldMkLst>
          <pc:docMk/>
          <pc:sldMk cId="1698062418" sldId="260"/>
        </pc:sldMkLst>
        <pc:graphicFrameChg chg="modGraphic">
          <ac:chgData name="Arer, Zeynep" userId="8ffac2ea-82bc-46f8-a762-fb0ec2ecbc56" providerId="ADAL" clId="{6DBDD93B-0C14-410B-9670-FCB3C907BF57}" dt="2023-10-27T10:53:45.591" v="760" actId="20577"/>
          <ac:graphicFrameMkLst>
            <pc:docMk/>
            <pc:sldMk cId="1698062418" sldId="260"/>
            <ac:graphicFrameMk id="6" creationId="{17754BDA-7893-418A-B433-08E7D38599E4}"/>
          </ac:graphicFrameMkLst>
        </pc:graphicFrameChg>
      </pc:sldChg>
      <pc:sldChg chg="modSp mod">
        <pc:chgData name="Arer, Zeynep" userId="8ffac2ea-82bc-46f8-a762-fb0ec2ecbc56" providerId="ADAL" clId="{6DBDD93B-0C14-410B-9670-FCB3C907BF57}" dt="2023-10-27T11:24:16.427" v="2102" actId="2165"/>
        <pc:sldMkLst>
          <pc:docMk/>
          <pc:sldMk cId="1977802142" sldId="261"/>
        </pc:sldMkLst>
        <pc:graphicFrameChg chg="mod modGraphic">
          <ac:chgData name="Arer, Zeynep" userId="8ffac2ea-82bc-46f8-a762-fb0ec2ecbc56" providerId="ADAL" clId="{6DBDD93B-0C14-410B-9670-FCB3C907BF57}" dt="2023-10-27T11:24:16.427" v="2102" actId="2165"/>
          <ac:graphicFrameMkLst>
            <pc:docMk/>
            <pc:sldMk cId="1977802142" sldId="261"/>
            <ac:graphicFrameMk id="6" creationId="{17754BDA-7893-418A-B433-08E7D38599E4}"/>
          </ac:graphicFrameMkLst>
        </pc:graphicFrameChg>
      </pc:sldChg>
      <pc:sldChg chg="modSp mod">
        <pc:chgData name="Arer, Zeynep" userId="8ffac2ea-82bc-46f8-a762-fb0ec2ecbc56" providerId="ADAL" clId="{6DBDD93B-0C14-410B-9670-FCB3C907BF57}" dt="2023-10-27T11:11:18.710" v="901" actId="12"/>
        <pc:sldMkLst>
          <pc:docMk/>
          <pc:sldMk cId="550125754" sldId="263"/>
        </pc:sldMkLst>
        <pc:spChg chg="mod">
          <ac:chgData name="Arer, Zeynep" userId="8ffac2ea-82bc-46f8-a762-fb0ec2ecbc56" providerId="ADAL" clId="{6DBDD93B-0C14-410B-9670-FCB3C907BF57}" dt="2023-10-27T11:11:18.710" v="901" actId="12"/>
          <ac:spMkLst>
            <pc:docMk/>
            <pc:sldMk cId="550125754" sldId="263"/>
            <ac:spMk id="9" creationId="{6F0C6214-22E1-467D-B94F-4A6E6F2C1CC0}"/>
          </ac:spMkLst>
        </pc:spChg>
        <pc:spChg chg="mod">
          <ac:chgData name="Arer, Zeynep" userId="8ffac2ea-82bc-46f8-a762-fb0ec2ecbc56" providerId="ADAL" clId="{6DBDD93B-0C14-410B-9670-FCB3C907BF57}" dt="2023-10-27T11:11:17.578" v="899" actId="5793"/>
          <ac:spMkLst>
            <pc:docMk/>
            <pc:sldMk cId="550125754" sldId="263"/>
            <ac:spMk id="11" creationId="{3F6353F7-2458-475A-AC37-A942FC3B6443}"/>
          </ac:spMkLst>
        </pc:spChg>
        <pc:spChg chg="mod">
          <ac:chgData name="Arer, Zeynep" userId="8ffac2ea-82bc-46f8-a762-fb0ec2ecbc56" providerId="ADAL" clId="{6DBDD93B-0C14-410B-9670-FCB3C907BF57}" dt="2023-10-27T11:06:47.637" v="846" actId="20577"/>
          <ac:spMkLst>
            <pc:docMk/>
            <pc:sldMk cId="550125754" sldId="263"/>
            <ac:spMk id="15" creationId="{06DA0A39-3E1F-42E4-804F-92698BDF32CE}"/>
          </ac:spMkLst>
        </pc:spChg>
        <pc:spChg chg="mod">
          <ac:chgData name="Arer, Zeynep" userId="8ffac2ea-82bc-46f8-a762-fb0ec2ecbc56" providerId="ADAL" clId="{6DBDD93B-0C14-410B-9670-FCB3C907BF57}" dt="2023-10-27T11:06:53.946" v="851" actId="5793"/>
          <ac:spMkLst>
            <pc:docMk/>
            <pc:sldMk cId="550125754" sldId="263"/>
            <ac:spMk id="17" creationId="{6C1496B9-A88E-4FBB-AEB1-5ABD2D84FB1A}"/>
          </ac:spMkLst>
        </pc:spChg>
      </pc:sldChg>
      <pc:sldChg chg="del">
        <pc:chgData name="Arer, Zeynep" userId="8ffac2ea-82bc-46f8-a762-fb0ec2ecbc56" providerId="ADAL" clId="{6DBDD93B-0C14-410B-9670-FCB3C907BF57}" dt="2023-10-27T10:41:31.982" v="36" actId="2696"/>
        <pc:sldMkLst>
          <pc:docMk/>
          <pc:sldMk cId="1508617065" sldId="264"/>
        </pc:sldMkLst>
      </pc:sldChg>
      <pc:sldChg chg="modSp mod">
        <pc:chgData name="Arer, Zeynep" userId="8ffac2ea-82bc-46f8-a762-fb0ec2ecbc56" providerId="ADAL" clId="{6DBDD93B-0C14-410B-9670-FCB3C907BF57}" dt="2023-10-27T11:22:08.334" v="1846" actId="5793"/>
        <pc:sldMkLst>
          <pc:docMk/>
          <pc:sldMk cId="4165815362" sldId="265"/>
        </pc:sldMkLst>
        <pc:spChg chg="mod">
          <ac:chgData name="Arer, Zeynep" userId="8ffac2ea-82bc-46f8-a762-fb0ec2ecbc56" providerId="ADAL" clId="{6DBDD93B-0C14-410B-9670-FCB3C907BF57}" dt="2023-10-27T10:59:43.069" v="784" actId="20577"/>
          <ac:spMkLst>
            <pc:docMk/>
            <pc:sldMk cId="4165815362" sldId="265"/>
            <ac:spMk id="9" creationId="{6F0C6214-22E1-467D-B94F-4A6E6F2C1CC0}"/>
          </ac:spMkLst>
        </pc:spChg>
        <pc:spChg chg="mod">
          <ac:chgData name="Arer, Zeynep" userId="8ffac2ea-82bc-46f8-a762-fb0ec2ecbc56" providerId="ADAL" clId="{6DBDD93B-0C14-410B-9670-FCB3C907BF57}" dt="2023-10-27T11:11:21.189" v="905" actId="20577"/>
          <ac:spMkLst>
            <pc:docMk/>
            <pc:sldMk cId="4165815362" sldId="265"/>
            <ac:spMk id="11" creationId="{3F6353F7-2458-475A-AC37-A942FC3B6443}"/>
          </ac:spMkLst>
        </pc:spChg>
        <pc:spChg chg="mod">
          <ac:chgData name="Arer, Zeynep" userId="8ffac2ea-82bc-46f8-a762-fb0ec2ecbc56" providerId="ADAL" clId="{6DBDD93B-0C14-410B-9670-FCB3C907BF57}" dt="2023-10-27T11:22:01.446" v="1836" actId="20577"/>
          <ac:spMkLst>
            <pc:docMk/>
            <pc:sldMk cId="4165815362" sldId="265"/>
            <ac:spMk id="15" creationId="{06DA0A39-3E1F-42E4-804F-92698BDF32CE}"/>
          </ac:spMkLst>
        </pc:spChg>
        <pc:spChg chg="mod">
          <ac:chgData name="Arer, Zeynep" userId="8ffac2ea-82bc-46f8-a762-fb0ec2ecbc56" providerId="ADAL" clId="{6DBDD93B-0C14-410B-9670-FCB3C907BF57}" dt="2023-10-27T11:22:08.334" v="1846" actId="5793"/>
          <ac:spMkLst>
            <pc:docMk/>
            <pc:sldMk cId="4165815362" sldId="265"/>
            <ac:spMk id="17" creationId="{6C1496B9-A88E-4FBB-AEB1-5ABD2D84FB1A}"/>
          </ac:spMkLst>
        </pc:spChg>
      </pc:sldChg>
      <pc:sldChg chg="modSp new mod">
        <pc:chgData name="Arer, Zeynep" userId="8ffac2ea-82bc-46f8-a762-fb0ec2ecbc56" providerId="ADAL" clId="{6DBDD93B-0C14-410B-9670-FCB3C907BF57}" dt="2023-10-27T11:00:39.030" v="825" actId="20577"/>
        <pc:sldMkLst>
          <pc:docMk/>
          <pc:sldMk cId="2106638301" sldId="266"/>
        </pc:sldMkLst>
        <pc:spChg chg="mod">
          <ac:chgData name="Arer, Zeynep" userId="8ffac2ea-82bc-46f8-a762-fb0ec2ecbc56" providerId="ADAL" clId="{6DBDD93B-0C14-410B-9670-FCB3C907BF57}" dt="2023-10-27T10:46:16.189" v="290" actId="20577"/>
          <ac:spMkLst>
            <pc:docMk/>
            <pc:sldMk cId="2106638301" sldId="266"/>
            <ac:spMk id="2" creationId="{31B859BC-CC4B-2504-00CA-2A4247D4F55F}"/>
          </ac:spMkLst>
        </pc:spChg>
        <pc:spChg chg="mod">
          <ac:chgData name="Arer, Zeynep" userId="8ffac2ea-82bc-46f8-a762-fb0ec2ecbc56" providerId="ADAL" clId="{6DBDD93B-0C14-410B-9670-FCB3C907BF57}" dt="2023-10-27T11:00:39.030" v="825" actId="20577"/>
          <ac:spMkLst>
            <pc:docMk/>
            <pc:sldMk cId="2106638301" sldId="266"/>
            <ac:spMk id="3" creationId="{D5CFC29E-9C1A-0AAB-1E7B-3C9B879C73A8}"/>
          </ac:spMkLst>
        </pc:spChg>
      </pc:sldChg>
      <pc:sldChg chg="delSp modSp add del mod">
        <pc:chgData name="Arer, Zeynep" userId="8ffac2ea-82bc-46f8-a762-fb0ec2ecbc56" providerId="ADAL" clId="{6DBDD93B-0C14-410B-9670-FCB3C907BF57}" dt="2023-10-27T11:06:57.992" v="852" actId="2696"/>
        <pc:sldMkLst>
          <pc:docMk/>
          <pc:sldMk cId="2398575976" sldId="267"/>
        </pc:sldMkLst>
        <pc:spChg chg="mod">
          <ac:chgData name="Arer, Zeynep" userId="8ffac2ea-82bc-46f8-a762-fb0ec2ecbc56" providerId="ADAL" clId="{6DBDD93B-0C14-410B-9670-FCB3C907BF57}" dt="2023-10-27T11:06:27.007" v="844" actId="1076"/>
          <ac:spMkLst>
            <pc:docMk/>
            <pc:sldMk cId="2398575976" sldId="267"/>
            <ac:spMk id="8" creationId="{8216A3F0-86C3-4400-9B1C-84554DB9466F}"/>
          </ac:spMkLst>
        </pc:spChg>
        <pc:spChg chg="mod">
          <ac:chgData name="Arer, Zeynep" userId="8ffac2ea-82bc-46f8-a762-fb0ec2ecbc56" providerId="ADAL" clId="{6DBDD93B-0C14-410B-9670-FCB3C907BF57}" dt="2023-10-27T11:06:27.007" v="844" actId="1076"/>
          <ac:spMkLst>
            <pc:docMk/>
            <pc:sldMk cId="2398575976" sldId="267"/>
            <ac:spMk id="9" creationId="{6F0C6214-22E1-467D-B94F-4A6E6F2C1CC0}"/>
          </ac:spMkLst>
        </pc:spChg>
        <pc:spChg chg="mod">
          <ac:chgData name="Arer, Zeynep" userId="8ffac2ea-82bc-46f8-a762-fb0ec2ecbc56" providerId="ADAL" clId="{6DBDD93B-0C14-410B-9670-FCB3C907BF57}" dt="2023-10-27T11:06:27.007" v="844" actId="1076"/>
          <ac:spMkLst>
            <pc:docMk/>
            <pc:sldMk cId="2398575976" sldId="267"/>
            <ac:spMk id="10" creationId="{DB6284EC-55ED-467F-A8A2-83461E1C67DC}"/>
          </ac:spMkLst>
        </pc:spChg>
        <pc:spChg chg="mod">
          <ac:chgData name="Arer, Zeynep" userId="8ffac2ea-82bc-46f8-a762-fb0ec2ecbc56" providerId="ADAL" clId="{6DBDD93B-0C14-410B-9670-FCB3C907BF57}" dt="2023-10-27T11:06:27.007" v="844" actId="1076"/>
          <ac:spMkLst>
            <pc:docMk/>
            <pc:sldMk cId="2398575976" sldId="267"/>
            <ac:spMk id="11" creationId="{3F6353F7-2458-475A-AC37-A942FC3B6443}"/>
          </ac:spMkLst>
        </pc:spChg>
        <pc:spChg chg="del">
          <ac:chgData name="Arer, Zeynep" userId="8ffac2ea-82bc-46f8-a762-fb0ec2ecbc56" providerId="ADAL" clId="{6DBDD93B-0C14-410B-9670-FCB3C907BF57}" dt="2023-10-27T11:05:57.650" v="842" actId="478"/>
          <ac:spMkLst>
            <pc:docMk/>
            <pc:sldMk cId="2398575976" sldId="267"/>
            <ac:spMk id="14" creationId="{92BEF7FB-DB54-46FF-B469-23552B35D5C5}"/>
          </ac:spMkLst>
        </pc:spChg>
        <pc:spChg chg="del">
          <ac:chgData name="Arer, Zeynep" userId="8ffac2ea-82bc-46f8-a762-fb0ec2ecbc56" providerId="ADAL" clId="{6DBDD93B-0C14-410B-9670-FCB3C907BF57}" dt="2023-10-27T11:05:57.650" v="842" actId="478"/>
          <ac:spMkLst>
            <pc:docMk/>
            <pc:sldMk cId="2398575976" sldId="267"/>
            <ac:spMk id="15" creationId="{06DA0A39-3E1F-42E4-804F-92698BDF32CE}"/>
          </ac:spMkLst>
        </pc:spChg>
        <pc:spChg chg="del">
          <ac:chgData name="Arer, Zeynep" userId="8ffac2ea-82bc-46f8-a762-fb0ec2ecbc56" providerId="ADAL" clId="{6DBDD93B-0C14-410B-9670-FCB3C907BF57}" dt="2023-10-27T11:05:57.650" v="842" actId="478"/>
          <ac:spMkLst>
            <pc:docMk/>
            <pc:sldMk cId="2398575976" sldId="267"/>
            <ac:spMk id="16" creationId="{BA6F1BD0-9142-42B2-BE3A-E656676CCD6C}"/>
          </ac:spMkLst>
        </pc:spChg>
        <pc:spChg chg="del">
          <ac:chgData name="Arer, Zeynep" userId="8ffac2ea-82bc-46f8-a762-fb0ec2ecbc56" providerId="ADAL" clId="{6DBDD93B-0C14-410B-9670-FCB3C907BF57}" dt="2023-10-27T11:05:57.650" v="842" actId="478"/>
          <ac:spMkLst>
            <pc:docMk/>
            <pc:sldMk cId="2398575976" sldId="267"/>
            <ac:spMk id="17" creationId="{6C1496B9-A88E-4FBB-AEB1-5ABD2D84FB1A}"/>
          </ac:spMkLst>
        </pc:spChg>
      </pc:sldChg>
    </pc:docChg>
  </pc:docChgLst>
  <pc:docChgLst>
    <pc:chgData name="Mazlumoglu, Abdurrahim" userId="eadf2c61-dbc0-4978-b481-ff77f085ff00" providerId="ADAL" clId="{34E03C0F-FEF4-4415-846B-D653E70FA551}"/>
    <pc:docChg chg="modSld">
      <pc:chgData name="Mazlumoglu, Abdurrahim" userId="eadf2c61-dbc0-4978-b481-ff77f085ff00" providerId="ADAL" clId="{34E03C0F-FEF4-4415-846B-D653E70FA551}" dt="2023-10-27T22:20:36.766" v="102" actId="20577"/>
      <pc:docMkLst>
        <pc:docMk/>
      </pc:docMkLst>
      <pc:sldChg chg="modSp mod">
        <pc:chgData name="Mazlumoglu, Abdurrahim" userId="eadf2c61-dbc0-4978-b481-ff77f085ff00" providerId="ADAL" clId="{34E03C0F-FEF4-4415-846B-D653E70FA551}" dt="2023-10-27T22:20:36.766" v="102" actId="20577"/>
        <pc:sldMkLst>
          <pc:docMk/>
          <pc:sldMk cId="839317597" sldId="257"/>
        </pc:sldMkLst>
        <pc:spChg chg="mod">
          <ac:chgData name="Mazlumoglu, Abdurrahim" userId="eadf2c61-dbc0-4978-b481-ff77f085ff00" providerId="ADAL" clId="{34E03C0F-FEF4-4415-846B-D653E70FA551}" dt="2023-10-27T22:20:36.766" v="102" actId="20577"/>
          <ac:spMkLst>
            <pc:docMk/>
            <pc:sldMk cId="839317597" sldId="257"/>
            <ac:spMk id="15" creationId="{87A37D7D-7E73-4745-A202-997C62F51A8F}"/>
          </ac:spMkLst>
        </pc:spChg>
        <pc:spChg chg="mod">
          <ac:chgData name="Mazlumoglu, Abdurrahim" userId="eadf2c61-dbc0-4978-b481-ff77f085ff00" providerId="ADAL" clId="{34E03C0F-FEF4-4415-846B-D653E70FA551}" dt="2023-10-27T20:21:23.308" v="44" actId="20577"/>
          <ac:spMkLst>
            <pc:docMk/>
            <pc:sldMk cId="839317597" sldId="257"/>
            <ac:spMk id="16" creationId="{91FAF885-0D61-475B-B9B2-7455B3C284B5}"/>
          </ac:spMkLst>
        </pc:spChg>
        <pc:spChg chg="mod">
          <ac:chgData name="Mazlumoglu, Abdurrahim" userId="eadf2c61-dbc0-4978-b481-ff77f085ff00" providerId="ADAL" clId="{34E03C0F-FEF4-4415-846B-D653E70FA551}" dt="2023-10-27T20:21:39.016" v="52" actId="20577"/>
          <ac:spMkLst>
            <pc:docMk/>
            <pc:sldMk cId="839317597" sldId="257"/>
            <ac:spMk id="27" creationId="{DCF01C23-ACF7-4E0E-9725-124053753415}"/>
          </ac:spMkLst>
        </pc:spChg>
        <pc:spChg chg="mod">
          <ac:chgData name="Mazlumoglu, Abdurrahim" userId="eadf2c61-dbc0-4978-b481-ff77f085ff00" providerId="ADAL" clId="{34E03C0F-FEF4-4415-846B-D653E70FA551}" dt="2023-10-27T20:21:31.910" v="45" actId="20577"/>
          <ac:spMkLst>
            <pc:docMk/>
            <pc:sldMk cId="839317597" sldId="257"/>
            <ac:spMk id="47" creationId="{14E05CFB-84ED-4C0C-905A-0AA598AA9853}"/>
          </ac:spMkLst>
        </pc:spChg>
      </pc:sldChg>
      <pc:sldChg chg="modSp">
        <pc:chgData name="Mazlumoglu, Abdurrahim" userId="eadf2c61-dbc0-4978-b481-ff77f085ff00" providerId="ADAL" clId="{34E03C0F-FEF4-4415-846B-D653E70FA551}" dt="2023-10-27T20:24:21.425" v="85"/>
        <pc:sldMkLst>
          <pc:docMk/>
          <pc:sldMk cId="2228839296" sldId="258"/>
        </pc:sldMkLst>
        <pc:graphicFrameChg chg="mod">
          <ac:chgData name="Mazlumoglu, Abdurrahim" userId="eadf2c61-dbc0-4978-b481-ff77f085ff00" providerId="ADAL" clId="{34E03C0F-FEF4-4415-846B-D653E70FA551}" dt="2023-10-27T20:24:21.425" v="85"/>
          <ac:graphicFrameMkLst>
            <pc:docMk/>
            <pc:sldMk cId="2228839296" sldId="258"/>
            <ac:graphicFrameMk id="6" creationId="{17754BDA-7893-418A-B433-08E7D38599E4}"/>
          </ac:graphicFrameMkLst>
        </pc:graphicFrameChg>
      </pc:sldChg>
      <pc:sldChg chg="modSp mod">
        <pc:chgData name="Mazlumoglu, Abdurrahim" userId="eadf2c61-dbc0-4978-b481-ff77f085ff00" providerId="ADAL" clId="{34E03C0F-FEF4-4415-846B-D653E70FA551}" dt="2023-10-27T20:25:42.929" v="94" actId="20577"/>
        <pc:sldMkLst>
          <pc:docMk/>
          <pc:sldMk cId="195194428" sldId="259"/>
        </pc:sldMkLst>
        <pc:graphicFrameChg chg="modGraphic">
          <ac:chgData name="Mazlumoglu, Abdurrahim" userId="eadf2c61-dbc0-4978-b481-ff77f085ff00" providerId="ADAL" clId="{34E03C0F-FEF4-4415-846B-D653E70FA551}" dt="2023-10-27T20:25:42.929" v="94" actId="20577"/>
          <ac:graphicFrameMkLst>
            <pc:docMk/>
            <pc:sldMk cId="195194428" sldId="259"/>
            <ac:graphicFrameMk id="6" creationId="{17754BDA-7893-418A-B433-08E7D38599E4}"/>
          </ac:graphicFrameMkLst>
        </pc:graphicFrameChg>
      </pc:sldChg>
      <pc:sldChg chg="modSp mod">
        <pc:chgData name="Mazlumoglu, Abdurrahim" userId="eadf2c61-dbc0-4978-b481-ff77f085ff00" providerId="ADAL" clId="{34E03C0F-FEF4-4415-846B-D653E70FA551}" dt="2023-10-27T20:26:00.666" v="96" actId="20577"/>
        <pc:sldMkLst>
          <pc:docMk/>
          <pc:sldMk cId="1977802142" sldId="261"/>
        </pc:sldMkLst>
        <pc:graphicFrameChg chg="mod modGraphic">
          <ac:chgData name="Mazlumoglu, Abdurrahim" userId="eadf2c61-dbc0-4978-b481-ff77f085ff00" providerId="ADAL" clId="{34E03C0F-FEF4-4415-846B-D653E70FA551}" dt="2023-10-27T20:26:00.666" v="96" actId="20577"/>
          <ac:graphicFrameMkLst>
            <pc:docMk/>
            <pc:sldMk cId="1977802142" sldId="261"/>
            <ac:graphicFrameMk id="6" creationId="{17754BDA-7893-418A-B433-08E7D38599E4}"/>
          </ac:graphicFrameMkLst>
        </pc:graphicFrameChg>
      </pc:sldChg>
      <pc:sldChg chg="modSp mod">
        <pc:chgData name="Mazlumoglu, Abdurrahim" userId="eadf2c61-dbc0-4978-b481-ff77f085ff00" providerId="ADAL" clId="{34E03C0F-FEF4-4415-846B-D653E70FA551}" dt="2023-10-27T20:23:16.860" v="84" actId="20577"/>
        <pc:sldMkLst>
          <pc:docMk/>
          <pc:sldMk cId="550125754" sldId="263"/>
        </pc:sldMkLst>
        <pc:spChg chg="mod">
          <ac:chgData name="Mazlumoglu, Abdurrahim" userId="eadf2c61-dbc0-4978-b481-ff77f085ff00" providerId="ADAL" clId="{34E03C0F-FEF4-4415-846B-D653E70FA551}" dt="2023-10-27T20:23:16.860" v="84" actId="20577"/>
          <ac:spMkLst>
            <pc:docMk/>
            <pc:sldMk cId="550125754" sldId="263"/>
            <ac:spMk id="11" creationId="{3F6353F7-2458-475A-AC37-A942FC3B644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DA92A3-DE71-4D0B-9330-5F8BB4DAAB2F}" type="datetimeFigureOut">
              <a:rPr lang="de-DE" smtClean="0"/>
              <a:t>28.10.2023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1C9BD7-7254-4B1F-AED3-8A35D6FADB3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7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0A712B-7664-46C4-AB35-B187D4A7A766}" type="datetimeFigureOut">
              <a:rPr lang="de-DE" smtClean="0"/>
              <a:t>28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061BD5-E424-43FD-AD01-39620E78D65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7482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061BD5-E424-43FD-AD01-39620E78D651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94243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19651" y="1773238"/>
            <a:ext cx="6948462" cy="865643"/>
          </a:xfrm>
        </p:spPr>
        <p:txBody>
          <a:bodyPr/>
          <a:lstStyle>
            <a:lvl1pPr algn="r">
              <a:defRPr sz="24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19651" y="2648406"/>
            <a:ext cx="6948461" cy="338554"/>
          </a:xfrm>
        </p:spPr>
        <p:txBody>
          <a:bodyPr/>
          <a:lstStyle>
            <a:lvl1pPr marL="0" indent="0" algn="r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613867" y="1033686"/>
            <a:ext cx="6992788" cy="432048"/>
          </a:xfrm>
          <a:prstGeom prst="rect">
            <a:avLst/>
          </a:prstGeom>
          <a:solidFill>
            <a:srgbClr val="85A0BF">
              <a:alpha val="27843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AB2FFB0-AE0F-4547-95FC-CE3A98B3580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07347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Rechteck 9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695400" y="6455418"/>
            <a:ext cx="1226509" cy="1260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4643183"/>
      </p:ext>
    </p:extLst>
  </p:cSld>
  <p:clrMapOvr>
    <a:masterClrMapping/>
  </p:clrMapOvr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5400" y="702221"/>
            <a:ext cx="10872186" cy="707887"/>
          </a:xfrm>
        </p:spPr>
        <p:txBody>
          <a:bodyPr anchor="ctr"/>
          <a:lstStyle>
            <a:lvl1pPr marL="342000" indent="-288000" algn="l">
              <a:lnSpc>
                <a:spcPct val="100000"/>
              </a:lnSpc>
              <a:buClr>
                <a:schemeClr val="tx2"/>
              </a:buClr>
              <a:buFont typeface="+mj-lt"/>
              <a:buAutoNum type="arabicPeriod"/>
              <a:defRPr sz="20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95400" y="1470645"/>
            <a:ext cx="10872187" cy="338554"/>
          </a:xfrm>
        </p:spPr>
        <p:txBody>
          <a:bodyPr anchor="t"/>
          <a:lstStyle>
            <a:lvl1pPr marL="612000" indent="-26640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7777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hteck 7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8473318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95400" y="1774031"/>
            <a:ext cx="10872185" cy="44632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Rechteck 12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4647253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66400" indent="-266400">
              <a:buClr>
                <a:schemeClr val="tx2"/>
              </a:buClr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266400" indent="0">
              <a:buNone/>
              <a:defRPr sz="1600">
                <a:solidFill>
                  <a:schemeClr val="tx1"/>
                </a:solidFill>
              </a:defRPr>
            </a:lvl2pPr>
            <a:lvl3pPr marL="370800" indent="0">
              <a:buNone/>
              <a:defRPr sz="1600">
                <a:solidFill>
                  <a:schemeClr val="tx1"/>
                </a:solidFill>
              </a:defRPr>
            </a:lvl3pPr>
            <a:lvl4pPr marL="586800" indent="0">
              <a:buNone/>
              <a:defRPr sz="1600">
                <a:solidFill>
                  <a:schemeClr val="tx1"/>
                </a:solidFill>
              </a:defRPr>
            </a:lvl4pPr>
            <a:lvl5pPr marL="788400" indent="0"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Rechteck 12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4545461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(picture +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95400" y="1774031"/>
            <a:ext cx="5015055" cy="4463258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6"/>
          </p:nvPr>
        </p:nvSpPr>
        <p:spPr>
          <a:xfrm>
            <a:off x="5993944" y="1774031"/>
            <a:ext cx="5573642" cy="446325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Rechteck 13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hteck 14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216723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566402" y="1774031"/>
            <a:ext cx="5001183" cy="2085251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95401" y="1774031"/>
            <a:ext cx="5583453" cy="20852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6"/>
          </p:nvPr>
        </p:nvSpPr>
        <p:spPr>
          <a:xfrm>
            <a:off x="6563131" y="4064362"/>
            <a:ext cx="5004453" cy="217292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695400" y="4064362"/>
            <a:ext cx="5583215" cy="21729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Rechteck 15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hteck 16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8028568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95400" y="177403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399335" y="177403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6"/>
          <p:cNvSpPr>
            <a:spLocks noGrp="1"/>
          </p:cNvSpPr>
          <p:nvPr>
            <p:ph type="pic" sz="quarter" idx="15"/>
          </p:nvPr>
        </p:nvSpPr>
        <p:spPr>
          <a:xfrm>
            <a:off x="8103271" y="177403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6"/>
          </p:nvPr>
        </p:nvSpPr>
        <p:spPr>
          <a:xfrm>
            <a:off x="695400" y="410738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17"/>
          </p:nvPr>
        </p:nvSpPr>
        <p:spPr>
          <a:xfrm>
            <a:off x="4399335" y="410738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8"/>
          </p:nvPr>
        </p:nvSpPr>
        <p:spPr>
          <a:xfrm>
            <a:off x="8103271" y="410738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9"/>
          </p:nvPr>
        </p:nvSpPr>
        <p:spPr>
          <a:xfrm>
            <a:off x="695400" y="3544034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20"/>
          </p:nvPr>
        </p:nvSpPr>
        <p:spPr>
          <a:xfrm>
            <a:off x="8103271" y="5877386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21"/>
          </p:nvPr>
        </p:nvSpPr>
        <p:spPr>
          <a:xfrm>
            <a:off x="4399335" y="5877386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23" name="Textplatzhalter 19"/>
          <p:cNvSpPr>
            <a:spLocks noGrp="1"/>
          </p:cNvSpPr>
          <p:nvPr>
            <p:ph type="body" sz="quarter" idx="22"/>
          </p:nvPr>
        </p:nvSpPr>
        <p:spPr>
          <a:xfrm>
            <a:off x="695400" y="5877386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23"/>
          </p:nvPr>
        </p:nvSpPr>
        <p:spPr>
          <a:xfrm>
            <a:off x="8103271" y="3544034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25" name="Textplatzhalter 19"/>
          <p:cNvSpPr>
            <a:spLocks noGrp="1"/>
          </p:cNvSpPr>
          <p:nvPr>
            <p:ph type="body" sz="quarter" idx="24"/>
          </p:nvPr>
        </p:nvSpPr>
        <p:spPr>
          <a:xfrm>
            <a:off x="4399335" y="3544034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7" name="Rechteck 26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hteck 27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7307265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705496" y="1773238"/>
            <a:ext cx="10862089" cy="325387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095817" y="5272922"/>
            <a:ext cx="5134493" cy="9643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695400" y="5272922"/>
            <a:ext cx="5134493" cy="9643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Rechteck 14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hteck 15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1956378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Rechteck 4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695400" y="6455418"/>
            <a:ext cx="1226509" cy="1260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hteck 1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503929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09E28B5-97BE-48BC-A63E-14B8B4175C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74145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22" imgH="623" progId="TCLayout.ActiveDocument.1">
                  <p:embed/>
                </p:oleObj>
              </mc:Choice>
              <mc:Fallback>
                <p:oleObj name="think-cell Slide" r:id="rId15" imgW="622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09E28B5-97BE-48BC-A63E-14B8B4175C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72362F-D643-4AEA-809A-349F9524B096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 err="1"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95400" y="701675"/>
            <a:ext cx="10872185" cy="4001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95400" y="1774031"/>
            <a:ext cx="10872186" cy="44632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279048" y="6340054"/>
            <a:ext cx="9288538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>
              <a:defRPr lang="de-DE" sz="1050" smtClean="0">
                <a:solidFill>
                  <a:srgbClr val="777777"/>
                </a:solidFill>
              </a:defRPr>
            </a:lvl1pPr>
          </a:lstStyle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68189" y="6340054"/>
            <a:ext cx="584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DE" sz="1050" smtClean="0">
                <a:solidFill>
                  <a:srgbClr val="777777"/>
                </a:solidFill>
                <a:latin typeface="+mj-lt"/>
              </a:defRPr>
            </a:lvl1pPr>
          </a:lstStyle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empower - DO NOT DELETE!!!" hidden="1"/>
          <p:cNvSpPr/>
          <p:nvPr>
            <p:custDataLst>
              <p:tags r:id="rId1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1217C0E-F466-4E59-8BBC-7079D5C8D3FC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11" y="6405060"/>
            <a:ext cx="1339957" cy="226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983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54" r:id="rId9"/>
    <p:sldLayoutId id="2147483655" r:id="rId1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69200" indent="-169200" algn="l" defTabSz="914400" rtl="0" eaLnBrk="1" latinLnBrk="0" hangingPunct="1">
        <a:lnSpc>
          <a:spcPts val="1700"/>
        </a:lnSpc>
        <a:spcBef>
          <a:spcPts val="17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1pPr>
      <a:lvl2pPr marL="3600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5400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3pPr>
      <a:lvl4pPr marL="7560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9576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 baseline="0">
          <a:solidFill>
            <a:schemeClr val="tx1"/>
          </a:solidFill>
          <a:latin typeface="+mj-lt"/>
          <a:ea typeface="+mn-ea"/>
          <a:cs typeface="+mn-cs"/>
        </a:defRPr>
      </a:lvl5pPr>
      <a:lvl6pPr marL="1267200" indent="-151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6pPr>
      <a:lvl7pPr marL="14832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7pPr>
      <a:lvl8pPr marL="16992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8pPr>
      <a:lvl9pPr marL="19152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7" userDrawn="1">
          <p15:clr>
            <a:srgbClr val="F26B43"/>
          </p15:clr>
        </p15:guide>
        <p15:guide id="2" pos="438" userDrawn="1">
          <p15:clr>
            <a:srgbClr val="F26B43"/>
          </p15:clr>
        </p15:guide>
        <p15:guide id="3" pos="7287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orient="horz" pos="4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B859BC-CC4B-2504-00CA-2A4247D4F55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tr-TR" dirty="0"/>
              <a:t>Finansal Süpürme Projesi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CFC29E-9C1A-0AAB-1E7B-3C9B879C73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tr-TR" dirty="0"/>
              <a:t>7 Ağustos 2023</a:t>
            </a:r>
          </a:p>
        </p:txBody>
      </p:sp>
    </p:spTree>
    <p:extLst>
      <p:ext uri="{BB962C8B-B14F-4D97-AF65-F5344CB8AC3E}">
        <p14:creationId xmlns:p14="http://schemas.microsoft.com/office/powerpoint/2010/main" val="2106638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309727C3-8AD7-4E6D-AF86-8EB39B3FB3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05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45" name="Object 44" hidden="1">
                        <a:extLst>
                          <a:ext uri="{FF2B5EF4-FFF2-40B4-BE49-F238E27FC236}">
                            <a16:creationId xmlns:a16="http://schemas.microsoft.com/office/drawing/2014/main" id="{309727C3-8AD7-4E6D-AF86-8EB39B3FB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9FB56B-12A9-435D-AB85-0A27FD0AC94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0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i="1" dirty="0"/>
              <a:t>Template</a:t>
            </a:r>
            <a:endParaRPr lang="en-US" i="1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Project Inform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095EF20F-3FC4-443B-ACB9-E203832EE3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404" y="1536988"/>
            <a:ext cx="10873208" cy="318924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square" lIns="72000" tIns="36000" rIns="72000" bIns="3600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" name="Rechteck 344">
            <a:extLst>
              <a:ext uri="{FF2B5EF4-FFF2-40B4-BE49-F238E27FC236}">
                <a16:creationId xmlns:a16="http://schemas.microsoft.com/office/drawing/2014/main" id="{49E0E6A3-499D-4152-807C-E721D0124A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8009" y="1933261"/>
            <a:ext cx="5328591" cy="288253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R</a:t>
            </a:r>
            <a:r>
              <a:rPr lang="tr-TR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eason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for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roject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C</a:t>
            </a:r>
            <a:r>
              <a:rPr lang="tr-TR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losure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hteck 385">
            <a:extLst>
              <a:ext uri="{FF2B5EF4-FFF2-40B4-BE49-F238E27FC236}">
                <a16:creationId xmlns:a16="http://schemas.microsoft.com/office/drawing/2014/main" id="{87A37D7D-7E73-4745-A202-997C62F51A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1564269"/>
            <a:ext cx="6408712" cy="2656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ate: 7 Temmuz 2023                         Project Name: Finansal Süpürme Projesi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FAF885-0D61-475B-B9B2-7455B3C284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8008" y="2298863"/>
            <a:ext cx="5328590" cy="1368152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lang="tr-TR" sz="1000" kern="0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Tahsliat</a:t>
            </a: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 işlemlerinin başarıyla yapılabilmesi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7" name="Rechteck 308">
            <a:extLst>
              <a:ext uri="{FF2B5EF4-FFF2-40B4-BE49-F238E27FC236}">
                <a16:creationId xmlns:a16="http://schemas.microsoft.com/office/drawing/2014/main" id="{AF7F5ACD-9836-458E-A972-8DDC22530A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1933262"/>
            <a:ext cx="5328592" cy="267072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roject Details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hteck 311">
            <a:extLst>
              <a:ext uri="{FF2B5EF4-FFF2-40B4-BE49-F238E27FC236}">
                <a16:creationId xmlns:a16="http://schemas.microsoft.com/office/drawing/2014/main" id="{6F4F9F1B-CE27-4EA2-85CB-37BE6954E2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2574784"/>
            <a:ext cx="2664296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ject Sponsor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9" name="Rechteck 313">
            <a:extLst>
              <a:ext uri="{FF2B5EF4-FFF2-40B4-BE49-F238E27FC236}">
                <a16:creationId xmlns:a16="http://schemas.microsoft.com/office/drawing/2014/main" id="{B1DD0977-1874-40A3-8C68-117783DF2A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4808" y="2574784"/>
            <a:ext cx="2599184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Hasan Melih Ere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0" name="Rechteck 311">
            <a:extLst>
              <a:ext uri="{FF2B5EF4-FFF2-40B4-BE49-F238E27FC236}">
                <a16:creationId xmlns:a16="http://schemas.microsoft.com/office/drawing/2014/main" id="{61DF76CF-4B1D-4FE8-A722-6A51F149D1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2868528"/>
            <a:ext cx="2664296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ject Lead </a:t>
            </a:r>
            <a:r>
              <a:rPr kumimoji="0" lang="de-DE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Business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1" name="Rechteck 311">
            <a:extLst>
              <a:ext uri="{FF2B5EF4-FFF2-40B4-BE49-F238E27FC236}">
                <a16:creationId xmlns:a16="http://schemas.microsoft.com/office/drawing/2014/main" id="{B9BC46C7-70C4-430A-A43E-F1C6A1B3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3156560"/>
            <a:ext cx="2664296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ject Manager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2" name="Rechteck 311">
            <a:extLst>
              <a:ext uri="{FF2B5EF4-FFF2-40B4-BE49-F238E27FC236}">
                <a16:creationId xmlns:a16="http://schemas.microsoft.com/office/drawing/2014/main" id="{0F4F9841-DB97-4646-919B-F477AD7E83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3438880"/>
            <a:ext cx="2664296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ject Start &amp; End Date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3" name="Rechteck 313">
            <a:extLst>
              <a:ext uri="{FF2B5EF4-FFF2-40B4-BE49-F238E27FC236}">
                <a16:creationId xmlns:a16="http://schemas.microsoft.com/office/drawing/2014/main" id="{94E2E33B-0B1A-4DFF-B643-3CEA65A98A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4808" y="2868528"/>
            <a:ext cx="2599184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Mehmet İleri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4" name="Rechteck 313">
            <a:extLst>
              <a:ext uri="{FF2B5EF4-FFF2-40B4-BE49-F238E27FC236}">
                <a16:creationId xmlns:a16="http://schemas.microsoft.com/office/drawing/2014/main" id="{1A9D8D2C-A8E9-4EB1-8A8B-7BB9DA9215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4808" y="3156560"/>
            <a:ext cx="2599184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Zeynep Arer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5" name="Rechteck 313">
            <a:extLst>
              <a:ext uri="{FF2B5EF4-FFF2-40B4-BE49-F238E27FC236}">
                <a16:creationId xmlns:a16="http://schemas.microsoft.com/office/drawing/2014/main" id="{31DA096F-E1F0-4FEA-9A7A-05F0D5EBD1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4808" y="3438880"/>
            <a:ext cx="2599184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Haziran 2023 – Temmuz 2023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42" name="Rechteck 311">
            <a:extLst>
              <a:ext uri="{FF2B5EF4-FFF2-40B4-BE49-F238E27FC236}">
                <a16:creationId xmlns:a16="http://schemas.microsoft.com/office/drawing/2014/main" id="{891B43FE-54DF-47B8-A2EA-EF54234B1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2286752"/>
            <a:ext cx="2664296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ject ID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43" name="Rechteck 313">
            <a:extLst>
              <a:ext uri="{FF2B5EF4-FFF2-40B4-BE49-F238E27FC236}">
                <a16:creationId xmlns:a16="http://schemas.microsoft.com/office/drawing/2014/main" id="{C68F3923-2A16-4C91-836C-EF16F64841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4808" y="2286752"/>
            <a:ext cx="2599184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46" name="Rechteck 308">
            <a:extLst>
              <a:ext uri="{FF2B5EF4-FFF2-40B4-BE49-F238E27FC236}">
                <a16:creationId xmlns:a16="http://schemas.microsoft.com/office/drawing/2014/main" id="{C056DAF5-E196-4782-A7A1-FAACC69482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893" y="3809602"/>
            <a:ext cx="5335488" cy="26563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roject </a:t>
            </a:r>
            <a:r>
              <a:rPr lang="tr-TR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Overview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15">
            <a:extLst>
              <a:ext uri="{FF2B5EF4-FFF2-40B4-BE49-F238E27FC236}">
                <a16:creationId xmlns:a16="http://schemas.microsoft.com/office/drawing/2014/main" id="{14E05CFB-84ED-4C0C-905A-0AA598AA9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893" y="4266284"/>
            <a:ext cx="5335488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Vaillant Group Türkiye’ye ait sanal posların bayilerin internet sitelerine entegre edilmesi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tabLst/>
              <a:defRPr/>
            </a:pPr>
            <a:endParaRPr lang="tr-TR" sz="10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6" name="Rechteck 308">
            <a:extLst>
              <a:ext uri="{FF2B5EF4-FFF2-40B4-BE49-F238E27FC236}">
                <a16:creationId xmlns:a16="http://schemas.microsoft.com/office/drawing/2014/main" id="{63B1179B-0E19-4707-B146-159034621C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8008" y="3809602"/>
            <a:ext cx="5407688" cy="26563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roject </a:t>
            </a:r>
            <a:r>
              <a:rPr lang="tr-TR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Goals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angle 15">
            <a:extLst>
              <a:ext uri="{FF2B5EF4-FFF2-40B4-BE49-F238E27FC236}">
                <a16:creationId xmlns:a16="http://schemas.microsoft.com/office/drawing/2014/main" id="{DCF01C23-ACF7-4E0E-9725-1240537534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4108" y="4266283"/>
            <a:ext cx="5335488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Paynet ile ödeme entegrasyonu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Bayilerin internet siteleri üzerinden kendi müşterilerine yaptıkları satışların kredi kartı ile olan tahsilatlarını doğrudan Vaillant Group Türkiye’ye yönlendirilmesi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Alt bayilerinde kullanacağı platformun oluşturulması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317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B77064DD-6D3D-45A2-9D66-409BB371D6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Başlık 3">
            <a:extLst>
              <a:ext uri="{FF2B5EF4-FFF2-40B4-BE49-F238E27FC236}">
                <a16:creationId xmlns:a16="http://schemas.microsoft.com/office/drawing/2014/main" id="{D4782422-4BBB-47EE-9756-E30D3EC2A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Project </a:t>
            </a:r>
            <a:r>
              <a:rPr lang="en-US" dirty="0"/>
              <a:t>Challenges</a:t>
            </a:r>
            <a:endParaRPr lang="tr-TR" dirty="0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F98B8916-7F87-4CF4-90B1-1FD8E2A40B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8" name="Rechteck 308">
            <a:extLst>
              <a:ext uri="{FF2B5EF4-FFF2-40B4-BE49-F238E27FC236}">
                <a16:creationId xmlns:a16="http://schemas.microsoft.com/office/drawing/2014/main" id="{8216A3F0-86C3-4400-9B1C-84554DB946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1565136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What Elements Of The Project Went Wrong</a:t>
            </a:r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6F0C6214-22E1-467D-B94F-4A6E6F2C1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1986678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tabLst/>
              <a:defRPr/>
            </a:pP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- Süreci yönetirken alt bayilerin proje paydaşı olma süreci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0" name="Rechteck 308">
            <a:extLst>
              <a:ext uri="{FF2B5EF4-FFF2-40B4-BE49-F238E27FC236}">
                <a16:creationId xmlns:a16="http://schemas.microsoft.com/office/drawing/2014/main" id="{DB6284EC-55ED-467F-A8A2-83461E1C67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6608" y="1565136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What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Specific Processes Need Improvement</a:t>
            </a:r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3F6353F7-2458-475A-AC37-A942FC3B64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6608" y="1986678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BRD (Business </a:t>
            </a:r>
            <a:r>
              <a:rPr lang="tr-TR" sz="1000" kern="0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Requirement</a:t>
            </a: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tr-TR" sz="1000" kern="0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Document</a:t>
            </a: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)’</a:t>
            </a:r>
            <a:r>
              <a:rPr lang="tr-TR" sz="1000" kern="0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nin</a:t>
            </a: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 net ve kapsamlı olması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4" name="Rechteck 308">
            <a:extLst>
              <a:ext uri="{FF2B5EF4-FFF2-40B4-BE49-F238E27FC236}">
                <a16:creationId xmlns:a16="http://schemas.microsoft.com/office/drawing/2014/main" id="{92BEF7FB-DB54-46FF-B469-23552B35D5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753" y="3819597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How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C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an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hese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rocesses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B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I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mproved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I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n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h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F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uture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06DA0A39-3E1F-42E4-804F-92698BDF32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753" y="4241139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6" name="Rechteck 308">
            <a:extLst>
              <a:ext uri="{FF2B5EF4-FFF2-40B4-BE49-F238E27FC236}">
                <a16:creationId xmlns:a16="http://schemas.microsoft.com/office/drawing/2014/main" id="{BA6F1BD0-9142-42B2-BE3A-E656676CCD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4961" y="3819597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What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W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er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h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K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ey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roblem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A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reas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(i.e., budgeting, scheduling, etc.</a:t>
            </a:r>
          </a:p>
        </p:txBody>
      </p:sp>
      <p:sp>
        <p:nvSpPr>
          <p:cNvPr id="17" name="Rectangle 15">
            <a:extLst>
              <a:ext uri="{FF2B5EF4-FFF2-40B4-BE49-F238E27FC236}">
                <a16:creationId xmlns:a16="http://schemas.microsoft.com/office/drawing/2014/main" id="{6C1496B9-A88E-4FBB-AEB1-5ABD2D84FB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3428" y="4241139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0125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B77064DD-6D3D-45A2-9D66-409BB371D6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Başlık 3">
            <a:extLst>
              <a:ext uri="{FF2B5EF4-FFF2-40B4-BE49-F238E27FC236}">
                <a16:creationId xmlns:a16="http://schemas.microsoft.com/office/drawing/2014/main" id="{D4782422-4BBB-47EE-9756-E30D3EC2A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Project </a:t>
            </a:r>
            <a:r>
              <a:rPr lang="en-US" dirty="0"/>
              <a:t>Highlights</a:t>
            </a:r>
            <a:endParaRPr lang="tr-TR" dirty="0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F98B8916-7F87-4CF4-90B1-1FD8E2A40B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8" name="Rechteck 308">
            <a:extLst>
              <a:ext uri="{FF2B5EF4-FFF2-40B4-BE49-F238E27FC236}">
                <a16:creationId xmlns:a16="http://schemas.microsoft.com/office/drawing/2014/main" id="{8216A3F0-86C3-4400-9B1C-84554DB946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1565136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What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W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er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he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M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ajor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A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ccomplishments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6F0C6214-22E1-467D-B94F-4A6E6F2C1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1986678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88900" marR="0" lvl="0" indent="-8890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kumimoji="0" lang="tr-T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T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hsilatı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,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ürünü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epomuzda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çıkış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nında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bir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kullanıcını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vin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monte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dilen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kadar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eçe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ür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zarfında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,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radaki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kademeleri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hiçbirind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bir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kaygı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yaşanmada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uçta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uca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v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üvenli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şekild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erçekleşmesini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lang="en-US" sz="1000" kern="0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sağl</a:t>
            </a:r>
            <a:r>
              <a:rPr lang="tr-TR" sz="1000" kern="0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ıyoruz</a:t>
            </a: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.</a:t>
            </a:r>
            <a:endParaRPr kumimoji="0" lang="tr-TR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88900" marR="0" lvl="0" indent="-8890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Bayilerimiz tahsilatlar için bankalara herhangi bir komisyon ödemek zorunda kalmıyor.</a:t>
            </a:r>
          </a:p>
          <a:p>
            <a:pPr marL="88900" marR="0" lvl="0" indent="-8890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Bayilerimiz Vaillant Group Türkiye’nin gücü sayesinde bankalardan alabildiği yüksek ve avantajlı taksit seçeneklerini kendi müşterilerine sunabiliyor.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hteck 308">
            <a:extLst>
              <a:ext uri="{FF2B5EF4-FFF2-40B4-BE49-F238E27FC236}">
                <a16:creationId xmlns:a16="http://schemas.microsoft.com/office/drawing/2014/main" id="{DB6284EC-55ED-467F-A8A2-83461E1C67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6608" y="1565136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What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W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as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F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ound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o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B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articularly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U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seful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T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o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A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ccomplish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th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roject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3F6353F7-2458-475A-AC37-A942FC3B64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6608" y="1986678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88900" marR="0" lvl="0" indent="-8890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kumimoji="0" lang="tr-T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ağladığımız güven</a:t>
            </a:r>
            <a:r>
              <a:rPr lang="tr-TR" sz="1000" kern="0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li</a:t>
            </a: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 altyapı ile ödeme konusunda bayi, müşteri memnuniyetinin arttırımı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4" name="Rechteck 308">
            <a:extLst>
              <a:ext uri="{FF2B5EF4-FFF2-40B4-BE49-F238E27FC236}">
                <a16:creationId xmlns:a16="http://schemas.microsoft.com/office/drawing/2014/main" id="{92BEF7FB-DB54-46FF-B469-23552B35D5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753" y="3819597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echnical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C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hallenges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06DA0A39-3E1F-42E4-804F-92698BDF32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753" y="4241139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88900" marR="0" lvl="0" indent="-8890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kumimoji="0" lang="tr-T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r bayiye Vaillant Group Türkiye’ye ait sanal posların entegre edilmesi</a:t>
            </a:r>
          </a:p>
          <a:p>
            <a:pPr marL="88900" marR="0" lvl="0" indent="-8890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lang="tr-TR" sz="1000" kern="0" dirty="0">
                <a:solidFill>
                  <a:prstClr val="black"/>
                </a:solidFill>
                <a:latin typeface="Arial"/>
              </a:rPr>
              <a:t>Günlük operasyona etki etmesinden ötürü, mevcutta kullanılan bir ödeme alt yapısının güncellenmesi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hteck 308">
            <a:extLst>
              <a:ext uri="{FF2B5EF4-FFF2-40B4-BE49-F238E27FC236}">
                <a16:creationId xmlns:a16="http://schemas.microsoft.com/office/drawing/2014/main" id="{BA6F1BD0-9142-42B2-BE3A-E656676CCD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4960" y="3819597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Additional Comments</a:t>
            </a:r>
          </a:p>
        </p:txBody>
      </p:sp>
      <p:sp>
        <p:nvSpPr>
          <p:cNvPr id="17" name="Rectangle 15">
            <a:extLst>
              <a:ext uri="{FF2B5EF4-FFF2-40B4-BE49-F238E27FC236}">
                <a16:creationId xmlns:a16="http://schemas.microsoft.com/office/drawing/2014/main" id="{6C1496B9-A88E-4FBB-AEB1-5ABD2D84FB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4961" y="4241139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58153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o 6">
            <a:extLst>
              <a:ext uri="{FF2B5EF4-FFF2-40B4-BE49-F238E27FC236}">
                <a16:creationId xmlns:a16="http://schemas.microsoft.com/office/drawing/2014/main" id="{17754BDA-7893-418A-B433-08E7D38599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52024162"/>
              </p:ext>
            </p:extLst>
          </p:nvPr>
        </p:nvGraphicFramePr>
        <p:xfrm>
          <a:off x="914400" y="1773238"/>
          <a:ext cx="10653713" cy="41479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5000">
                  <a:extLst>
                    <a:ext uri="{9D8B030D-6E8A-4147-A177-3AD203B41FA5}">
                      <a16:colId xmlns:a16="http://schemas.microsoft.com/office/drawing/2014/main" val="516673724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3280067492"/>
                    </a:ext>
                  </a:extLst>
                </a:gridCol>
                <a:gridCol w="2982516">
                  <a:extLst>
                    <a:ext uri="{9D8B030D-6E8A-4147-A177-3AD203B41FA5}">
                      <a16:colId xmlns:a16="http://schemas.microsoft.com/office/drawing/2014/main" val="916510440"/>
                    </a:ext>
                  </a:extLst>
                </a:gridCol>
                <a:gridCol w="2718197">
                  <a:extLst>
                    <a:ext uri="{9D8B030D-6E8A-4147-A177-3AD203B41FA5}">
                      <a16:colId xmlns:a16="http://schemas.microsoft.com/office/drawing/2014/main" val="3385013472"/>
                    </a:ext>
                  </a:extLst>
                </a:gridCol>
              </a:tblGrid>
              <a:tr h="895620"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scription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ccomplished?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Y / N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omments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887140"/>
                  </a:ext>
                </a:extLst>
              </a:tr>
              <a:tr h="799635">
                <a:tc>
                  <a:txBody>
                    <a:bodyPr/>
                    <a:lstStyle/>
                    <a:p>
                      <a:pPr marL="0" algn="l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edefler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tr-TR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tr-TR" sz="1000" dirty="0"/>
                        <a:t>Sanal posları bayilerin internet sitelerine entegre ederek, kendi müşterilerine yaptıkları satışların kredi kartı ile olan tahsilatlarını doğrudan Vaillant Group Türkiye’ye yönlendirdikleri bir yapı oluşturulmas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000" dirty="0"/>
                        <a:t>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tr-T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3666500"/>
                  </a:ext>
                </a:extLst>
              </a:tr>
              <a:tr h="799635">
                <a:tc>
                  <a:txBody>
                    <a:bodyPr/>
                    <a:lstStyle/>
                    <a:p>
                      <a:pPr marL="0" algn="l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ağlanan Fayda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tr-TR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tr-TR" sz="1000" dirty="0"/>
                        <a:t>Müşteri memnuniyet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000" dirty="0"/>
                        <a:t>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tr-T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7587383"/>
                  </a:ext>
                </a:extLst>
              </a:tr>
              <a:tr h="799635">
                <a:tc>
                  <a:txBody>
                    <a:bodyPr/>
                    <a:lstStyle/>
                    <a:p>
                      <a:pPr marL="0" algn="l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Çıktılar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tr-TR" sz="1000" dirty="0"/>
                        <a:t>Bayilerden ve alt bayilerden yapılan satışlarının tahsilatının direkt olarak Vaillant hesabına gelmes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tr-TR" sz="1000" dirty="0"/>
                    </a:p>
                    <a:p>
                      <a:pPr algn="ctr"/>
                      <a:r>
                        <a:rPr lang="tr-TR" sz="1000" dirty="0"/>
                        <a:t>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tr-T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8103612"/>
                  </a:ext>
                </a:extLst>
              </a:tr>
              <a:tr h="799635">
                <a:tc>
                  <a:txBody>
                    <a:bodyPr/>
                    <a:lstStyle/>
                    <a:p>
                      <a:pPr marL="0" algn="l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lana Uyum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tr-TR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tr-TR" sz="1000" dirty="0"/>
                        <a:t>Ağustos 2023 canlı geçiş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000" dirty="0"/>
                        <a:t>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tr-TR" sz="1000" dirty="0"/>
                        <a:t>Temmuz ayı sonunda projenin testleri tamamlandı ve canlıya geçiş yapıldı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115417"/>
                  </a:ext>
                </a:extLst>
              </a:tr>
            </a:tbl>
          </a:graphicData>
        </a:graphic>
      </p:graphicFrame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B77064DD-6D3D-45A2-9D66-409BB371D6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Başlık 3">
            <a:extLst>
              <a:ext uri="{FF2B5EF4-FFF2-40B4-BE49-F238E27FC236}">
                <a16:creationId xmlns:a16="http://schemas.microsoft.com/office/drawing/2014/main" id="{D4782422-4BBB-47EE-9756-E30D3EC2A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Project </a:t>
            </a:r>
            <a:r>
              <a:rPr lang="tr-TR" dirty="0" err="1"/>
              <a:t>Completion</a:t>
            </a:r>
            <a:r>
              <a:rPr lang="tr-TR" dirty="0"/>
              <a:t> </a:t>
            </a:r>
            <a:r>
              <a:rPr lang="tr-TR" dirty="0" err="1"/>
              <a:t>Criteria</a:t>
            </a:r>
            <a:endParaRPr lang="tr-TR" dirty="0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F98B8916-7F87-4CF4-90B1-1FD8E2A40B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88392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o 6">
            <a:extLst>
              <a:ext uri="{FF2B5EF4-FFF2-40B4-BE49-F238E27FC236}">
                <a16:creationId xmlns:a16="http://schemas.microsoft.com/office/drawing/2014/main" id="{17754BDA-7893-418A-B433-08E7D38599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98268613"/>
              </p:ext>
            </p:extLst>
          </p:nvPr>
        </p:nvGraphicFramePr>
        <p:xfrm>
          <a:off x="766535" y="1785323"/>
          <a:ext cx="10729913" cy="17538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6997">
                  <a:extLst>
                    <a:ext uri="{9D8B030D-6E8A-4147-A177-3AD203B41FA5}">
                      <a16:colId xmlns:a16="http://schemas.microsoft.com/office/drawing/2014/main" val="516673724"/>
                    </a:ext>
                  </a:extLst>
                </a:gridCol>
                <a:gridCol w="2588403">
                  <a:extLst>
                    <a:ext uri="{9D8B030D-6E8A-4147-A177-3AD203B41FA5}">
                      <a16:colId xmlns:a16="http://schemas.microsoft.com/office/drawing/2014/main" val="3280067492"/>
                    </a:ext>
                  </a:extLst>
                </a:gridCol>
                <a:gridCol w="2886874">
                  <a:extLst>
                    <a:ext uri="{9D8B030D-6E8A-4147-A177-3AD203B41FA5}">
                      <a16:colId xmlns:a16="http://schemas.microsoft.com/office/drawing/2014/main" val="916510440"/>
                    </a:ext>
                  </a:extLst>
                </a:gridCol>
                <a:gridCol w="2737639">
                  <a:extLst>
                    <a:ext uri="{9D8B030D-6E8A-4147-A177-3AD203B41FA5}">
                      <a16:colId xmlns:a16="http://schemas.microsoft.com/office/drawing/2014/main" val="3385013472"/>
                    </a:ext>
                  </a:extLst>
                </a:gridCol>
              </a:tblGrid>
              <a:tr h="926567"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scription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ask</a:t>
                      </a:r>
                      <a:r>
                        <a:rPr lang="tr-TR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wner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ue</a:t>
                      </a:r>
                      <a:r>
                        <a:rPr lang="tr-TR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ate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887140"/>
                  </a:ext>
                </a:extLst>
              </a:tr>
              <a:tr h="827265">
                <a:tc>
                  <a:txBody>
                    <a:bodyPr/>
                    <a:lstStyle/>
                    <a:p>
                      <a:pPr marL="0" algn="l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 bayi sayısının fazla olması</a:t>
                      </a:r>
                      <a:endParaRPr lang="tr-TR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tr-TR" sz="1100" dirty="0"/>
                        <a:t>Paydaş sayısı fazlalığından dolayı iletişim kazalarının önüne geçilmes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100" dirty="0"/>
                        <a:t>Zeynep Arer</a:t>
                      </a:r>
                      <a:br>
                        <a:rPr lang="tr-TR" sz="1100" dirty="0"/>
                      </a:br>
                      <a:r>
                        <a:rPr lang="tr-TR" sz="1100" dirty="0"/>
                        <a:t>Mehmet İler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100" dirty="0"/>
                        <a:t>06.202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3666500"/>
                  </a:ext>
                </a:extLst>
              </a:tr>
            </a:tbl>
          </a:graphicData>
        </a:graphic>
      </p:graphicFrame>
      <p:sp>
        <p:nvSpPr>
          <p:cNvPr id="4" name="Başlık 3">
            <a:extLst>
              <a:ext uri="{FF2B5EF4-FFF2-40B4-BE49-F238E27FC236}">
                <a16:creationId xmlns:a16="http://schemas.microsoft.com/office/drawing/2014/main" id="{D4782422-4BBB-47EE-9756-E30D3EC2A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Outstanding</a:t>
            </a:r>
            <a:r>
              <a:rPr lang="tr-TR" dirty="0"/>
              <a:t> </a:t>
            </a:r>
            <a:r>
              <a:rPr lang="tr-TR" dirty="0" err="1"/>
              <a:t>Items</a:t>
            </a:r>
            <a:endParaRPr lang="tr-TR" dirty="0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F98B8916-7F87-4CF4-90B1-1FD8E2A40B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Metin Yer Tutucusu 6">
            <a:extLst>
              <a:ext uri="{FF2B5EF4-FFF2-40B4-BE49-F238E27FC236}">
                <a16:creationId xmlns:a16="http://schemas.microsoft.com/office/drawing/2014/main" id="{ED654C2D-8479-48F9-AA7B-E3A35DDED6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5194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o 6">
            <a:extLst>
              <a:ext uri="{FF2B5EF4-FFF2-40B4-BE49-F238E27FC236}">
                <a16:creationId xmlns:a16="http://schemas.microsoft.com/office/drawing/2014/main" id="{17754BDA-7893-418A-B433-08E7D38599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49908111"/>
              </p:ext>
            </p:extLst>
          </p:nvPr>
        </p:nvGraphicFramePr>
        <p:xfrm>
          <a:off x="915364" y="2235544"/>
          <a:ext cx="10432256" cy="23869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9387">
                  <a:extLst>
                    <a:ext uri="{9D8B030D-6E8A-4147-A177-3AD203B41FA5}">
                      <a16:colId xmlns:a16="http://schemas.microsoft.com/office/drawing/2014/main" val="516673724"/>
                    </a:ext>
                  </a:extLst>
                </a:gridCol>
                <a:gridCol w="2975206">
                  <a:extLst>
                    <a:ext uri="{9D8B030D-6E8A-4147-A177-3AD203B41FA5}">
                      <a16:colId xmlns:a16="http://schemas.microsoft.com/office/drawing/2014/main" val="3280067492"/>
                    </a:ext>
                  </a:extLst>
                </a:gridCol>
                <a:gridCol w="1268473">
                  <a:extLst>
                    <a:ext uri="{9D8B030D-6E8A-4147-A177-3AD203B41FA5}">
                      <a16:colId xmlns:a16="http://schemas.microsoft.com/office/drawing/2014/main" val="916510440"/>
                    </a:ext>
                  </a:extLst>
                </a:gridCol>
                <a:gridCol w="2163865">
                  <a:extLst>
                    <a:ext uri="{9D8B030D-6E8A-4147-A177-3AD203B41FA5}">
                      <a16:colId xmlns:a16="http://schemas.microsoft.com/office/drawing/2014/main" val="750514031"/>
                    </a:ext>
                  </a:extLst>
                </a:gridCol>
                <a:gridCol w="1485325">
                  <a:extLst>
                    <a:ext uri="{9D8B030D-6E8A-4147-A177-3AD203B41FA5}">
                      <a16:colId xmlns:a16="http://schemas.microsoft.com/office/drawing/2014/main" val="3385013472"/>
                    </a:ext>
                  </a:extLst>
                </a:gridCol>
              </a:tblGrid>
              <a:tr h="856858"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scription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commended</a:t>
                      </a:r>
                      <a:r>
                        <a:rPr lang="tr-TR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Action</a:t>
                      </a: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sponsible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ate</a:t>
                      </a:r>
                      <a:r>
                        <a:rPr lang="tr-TR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ised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tatus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887140"/>
                  </a:ext>
                </a:extLst>
              </a:tr>
              <a:tr h="765027">
                <a:tc>
                  <a:txBody>
                    <a:bodyPr/>
                    <a:lstStyle/>
                    <a:p>
                      <a:r>
                        <a:rPr lang="tr-TR" sz="10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İletişim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tr-TR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Kısa süren ancak büyük getirileri olan bir proje olduğundan hızlı iletişimi sağlamak için paydaşlarla düzenli toplantı yapılmal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000" dirty="0"/>
                        <a:t>Zeynep Ar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000" dirty="0"/>
                        <a:t>Temmuz 20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000" dirty="0"/>
                        <a:t>Tamamlandı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3666500"/>
                  </a:ext>
                </a:extLst>
              </a:tr>
              <a:tr h="76502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tr-TR" sz="1000" b="1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je portföy güncellemesi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tr-TR" sz="1000"/>
                        <a:t>Her çeyrek </a:t>
                      </a:r>
                      <a:r>
                        <a:rPr lang="tr-TR" sz="1000" dirty="0"/>
                        <a:t>başında yapılacak projelerin daha iyi alternatifleri var mı diye kontrol edilmes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000" dirty="0"/>
                        <a:t>PM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000" dirty="0"/>
                        <a:t>Haziran 20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000" dirty="0"/>
                        <a:t>Tamamlandı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8731400"/>
                  </a:ext>
                </a:extLst>
              </a:tr>
            </a:tbl>
          </a:graphicData>
        </a:graphic>
      </p:graphicFrame>
      <p:sp>
        <p:nvSpPr>
          <p:cNvPr id="4" name="Başlık 3">
            <a:extLst>
              <a:ext uri="{FF2B5EF4-FFF2-40B4-BE49-F238E27FC236}">
                <a16:creationId xmlns:a16="http://schemas.microsoft.com/office/drawing/2014/main" id="{D4782422-4BBB-47EE-9756-E30D3EC2A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Lessons</a:t>
            </a:r>
            <a:r>
              <a:rPr lang="tr-TR" dirty="0"/>
              <a:t> </a:t>
            </a:r>
            <a:r>
              <a:rPr lang="tr-TR" dirty="0" err="1"/>
              <a:t>Learned</a:t>
            </a:r>
            <a:endParaRPr lang="tr-TR" dirty="0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F98B8916-7F87-4CF4-90B1-1FD8E2A40B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442A9B4F-5FBB-422A-B59F-FB20D4B24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778021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Logo auf Finanzfolien deaktivieren;Deaktivieren Sie mit einem Klick das Logo auf den Finanzfolien."/>
  <p:tag name="MIO_USER_INPUT_OPTIONAL" val=" "/>
  <p:tag name="MIO_USER_INPUT_FIXED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Logo auf Finanzfolien deaktivieren;Deaktivieren Sie mit einem Klick das Logo auf den Finanzfolien."/>
  <p:tag name="MIO_USER_INPUT_OPTIONAL" val=" "/>
  <p:tag name="MIO_USER_INPUT_FIXED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OMi9CSCODH.q82_rPR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3C3UMBDpm87tla6g5T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-1"/>
  <p:tag name="MIO_FALLBACK_LAYOUT" val="9"/>
  <p:tag name="MIO_SHOW_DATE" val="False"/>
  <p:tag name="MIO_SHOW_FOOTER" val="False"/>
  <p:tag name="MIO_SHOW_PAGENUMBER" val="True"/>
  <p:tag name="MIO_AVOID_BLANK_LAYOUT" val="True"/>
  <p:tag name="MIO_CD_LAYOUT_VALID_AREA" val="True"/>
  <p:tag name="MIO_NUMBER_OF_VALID_LAYOUTS" val="10"/>
  <p:tag name="MIO_HDS" val="True"/>
  <p:tag name="MIO_SKIPVERSION" val="01.01.0001 00:00:00"/>
  <p:tag name="MIO_EKGUID" val="ac6b6af0-82fc-492f-8d1e-8815123489b7"/>
  <p:tag name="MIO_UPDATE" val="True"/>
  <p:tag name="MIO_VERSION" val="17.04.2018 11:00:16"/>
  <p:tag name="MIO_DBID" val="90957D0D-7A67-44BA-9BAA-E7FCAB30649B"/>
  <p:tag name="MIO_LASTDOWNLOADED" val="08.05.2018 15:47:02"/>
  <p:tag name="MIO_OBJECTNAME" val="Master Vaillant Group 16:9"/>
  <p:tag name="MIO_CDID" val="adad0675-16be-42fc-8c63-3512b1eb2b6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Master Vaillant Group">
  <a:themeElements>
    <a:clrScheme name="Vaillant Group">
      <a:dk1>
        <a:sysClr val="windowText" lastClr="000000"/>
      </a:dk1>
      <a:lt1>
        <a:sysClr val="window" lastClr="FFFFFF"/>
      </a:lt1>
      <a:dk2>
        <a:srgbClr val="00887D"/>
      </a:dk2>
      <a:lt2>
        <a:srgbClr val="D7D7D8"/>
      </a:lt2>
      <a:accent1>
        <a:srgbClr val="7FB3AD"/>
      </a:accent1>
      <a:accent2>
        <a:srgbClr val="ACCCC8"/>
      </a:accent2>
      <a:accent3>
        <a:srgbClr val="BBBBBB"/>
      </a:accent3>
      <a:accent4>
        <a:srgbClr val="9B9B9B"/>
      </a:accent4>
      <a:accent5>
        <a:srgbClr val="2A507C"/>
      </a:accent5>
      <a:accent6>
        <a:srgbClr val="85796B"/>
      </a:accent6>
      <a:hlink>
        <a:srgbClr val="7FB3AD"/>
      </a:hlink>
      <a:folHlink>
        <a:srgbClr val="BBBBBB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14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 name="Light Blue">
      <a:srgbClr val="0087C0"/>
    </a:custClr>
    <a:custClr name="Yellow">
      <a:srgbClr val="E3B853"/>
    </a:custClr>
    <a:custClr name="Purple">
      <a:srgbClr val="85225E"/>
    </a:custClr>
    <a:custClr name="Beige">
      <a:srgbClr val="85796B"/>
    </a:custClr>
    <a:custClr name="Custom Color 5">
      <a:srgbClr val="FFFFFF"/>
    </a:custClr>
    <a:custClr name="Custom Color 6">
      <a:srgbClr val="FFFFFF"/>
    </a:custClr>
    <a:custClr name="Custom Color 7">
      <a:srgbClr val="FFFFFF"/>
    </a:custClr>
    <a:custClr name="Custom Color 8">
      <a:srgbClr val="FFFFFF"/>
    </a:custClr>
    <a:custClr name="Custom Color 9">
      <a:srgbClr val="FFFFFF"/>
    </a:custClr>
    <a:custClr name="Custom Color 10">
      <a:srgbClr val="FFFFFF"/>
    </a:custClr>
    <a:custClr name="Light Blue 70">
      <a:srgbClr val="61A7D4"/>
    </a:custClr>
    <a:custClr name="Yellow 70">
      <a:srgbClr val="ECCD88"/>
    </a:custClr>
    <a:custClr name="Purple 70">
      <a:srgbClr val="A26288"/>
    </a:custClr>
    <a:custClr name="Beige 70">
      <a:srgbClr val="A69C90"/>
    </a:custClr>
    <a:custClr name="Custom Color 12">
      <a:srgbClr val="FFFFFF"/>
    </a:custClr>
    <a:custClr name="Custom Color 13">
      <a:srgbClr val="FFFFFF"/>
    </a:custClr>
    <a:custClr name="Custom Color 14">
      <a:srgbClr val="FFFFFF"/>
    </a:custClr>
    <a:custClr name="Custom Color 15">
      <a:srgbClr val="FFFFFF"/>
    </a:custClr>
    <a:custClr name="Custom Color 16">
      <a:srgbClr val="FFFFFF"/>
    </a:custClr>
    <a:custClr name="Custom Color 17">
      <a:srgbClr val="FFFFFF"/>
    </a:custClr>
    <a:custClr name="Light Blue 40">
      <a:srgbClr val="91BFE1"/>
    </a:custClr>
    <a:custClr name="Yellow 40">
      <a:srgbClr val="F4E2BB"/>
    </a:custClr>
    <a:custClr name="Purple 40">
      <a:srgbClr val="C6A4BA"/>
    </a:custClr>
    <a:custClr name="Beige 40">
      <a:srgbClr val="CAC3BB"/>
    </a:custClr>
    <a:custClr name="Custom Color 22">
      <a:srgbClr val="FFFFFF"/>
    </a:custClr>
    <a:custClr name="Custom Color 23">
      <a:srgbClr val="FFFFFF"/>
    </a:custClr>
    <a:custClr name="Custom Color 24">
      <a:srgbClr val="FFFFFF"/>
    </a:custClr>
    <a:custClr name="Custom Color 25">
      <a:srgbClr val="FFFFFF"/>
    </a:custClr>
    <a:custClr name="Custom Color 26">
      <a:srgbClr val="FFFFFF"/>
    </a:custClr>
    <a:custClr name="Custom Color 27">
      <a:srgbClr val="FFFFFF"/>
    </a:custClr>
    <a:custClr name="Light Blue 20">
      <a:srgbClr val="D5E5F4"/>
    </a:custClr>
    <a:custClr name="Yellow 20">
      <a:srgbClr val="F9F1DE"/>
    </a:custClr>
    <a:custClr name="Purple 20">
      <a:srgbClr val="E1D0DD"/>
    </a:custClr>
    <a:custClr name="Beige 20">
      <a:srgbClr val="E4E0DC"/>
    </a:custClr>
    <a:custClr name="Custom Color 32">
      <a:srgbClr val="FFFFFF"/>
    </a:custClr>
    <a:custClr name="Custom Color 33">
      <a:srgbClr val="FFFFFF"/>
    </a:custClr>
    <a:custClr name="Custom Color 34">
      <a:srgbClr val="FFFFFF"/>
    </a:custClr>
    <a:custClr name="Custom Color 35">
      <a:srgbClr val="FFFFFF"/>
    </a:custClr>
    <a:custClr name="Custom Color 36">
      <a:srgbClr val="FFFFFF"/>
    </a:custClr>
    <a:custClr name="Custom Color 37">
      <a:srgbClr val="FFFFFF"/>
    </a:custClr>
  </a:custClrLst>
  <a:extLst>
    <a:ext uri="{05A4C25C-085E-4340-85A3-A5531E510DB2}">
      <thm15:themeFamily xmlns:thm15="http://schemas.microsoft.com/office/thememl/2012/main" name="Anpassung PPT-MAster.pptx" id="{971C4BF3-EAD7-4131-93FD-46656314016F}" vid="{7AC89102-2399-4A6F-A9B3-FF8AEB00B85B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b018b39-cb8e-4313-b823-5c5c1278761d">
      <Terms xmlns="http://schemas.microsoft.com/office/infopath/2007/PartnerControls"/>
    </lcf76f155ced4ddcb4097134ff3c332f>
    <TaxCatchAll xmlns="21e67754-9133-4f43-830c-e1e71c63834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Belge" ma:contentTypeID="0x010100D70F7712F7202F43B2C7DEC1DF8C2AB3" ma:contentTypeVersion="13" ma:contentTypeDescription="Yeni belge oluşturun." ma:contentTypeScope="" ma:versionID="f712eb8a943930e0c0c66fb12eb8344b">
  <xsd:schema xmlns:xsd="http://www.w3.org/2001/XMLSchema" xmlns:xs="http://www.w3.org/2001/XMLSchema" xmlns:p="http://schemas.microsoft.com/office/2006/metadata/properties" xmlns:ns2="eb018b39-cb8e-4313-b823-5c5c1278761d" xmlns:ns3="21e67754-9133-4f43-830c-e1e71c638340" targetNamespace="http://schemas.microsoft.com/office/2006/metadata/properties" ma:root="true" ma:fieldsID="85a914bc87d2f3212ac4d6b368d08d3a" ns2:_="" ns3:_="">
    <xsd:import namespace="eb018b39-cb8e-4313-b823-5c5c1278761d"/>
    <xsd:import namespace="21e67754-9133-4f43-830c-e1e71c6383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018b39-cb8e-4313-b823-5c5c127876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Resim Etiketleri" ma:readOnly="false" ma:fieldId="{5cf76f15-5ced-4ddc-b409-7134ff3c332f}" ma:taxonomyMulti="true" ma:sspId="095fd8e8-e1d7-46ac-9877-5d2cc8d3f13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e67754-9133-4f43-830c-e1e71c63834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ylaşılanla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Ayrıntıları ile Paylaşıldı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b46acdef-1eff-4e4e-a163-c52983c2a5fc}" ma:internalName="TaxCatchAll" ma:showField="CatchAllData" ma:web="21e67754-9133-4f43-830c-e1e71c6383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İçerik Türü"/>
        <xsd:element ref="dc:title" minOccurs="0" maxOccurs="1" ma:index="4" ma:displayName="Başlı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4760BF9-81A7-4BE9-84A3-6A2697AA32F4}">
  <ds:schemaRefs>
    <ds:schemaRef ds:uri="http://purl.org/dc/terms/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www.w3.org/XML/1998/namespace"/>
    <ds:schemaRef ds:uri="eb018b39-cb8e-4313-b823-5c5c1278761d"/>
    <ds:schemaRef ds:uri="http://schemas.microsoft.com/office/2006/documentManagement/types"/>
    <ds:schemaRef ds:uri="http://schemas.microsoft.com/office/infopath/2007/PartnerControls"/>
    <ds:schemaRef ds:uri="21e67754-9133-4f43-830c-e1e71c638340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CAB3D58-0FE1-4D75-920C-B7E61399CA2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D294C7-2DCB-40C5-A16C-EB3ED4B5C0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018b39-cb8e-4313-b823-5c5c1278761d"/>
    <ds:schemaRef ds:uri="21e67754-9133-4f43-830c-e1e71c6383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aillant Group_16_9_NEW_201208</Template>
  <TotalTime>3775</TotalTime>
  <Words>468</Words>
  <Application>Microsoft Office PowerPoint</Application>
  <PresentationFormat>Geniş ekran</PresentationFormat>
  <Paragraphs>93</Paragraphs>
  <Slides>7</Slides>
  <Notes>1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3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2" baseType="lpstr">
      <vt:lpstr>Arial</vt:lpstr>
      <vt:lpstr>Calibri</vt:lpstr>
      <vt:lpstr>Symbol</vt:lpstr>
      <vt:lpstr>Master Vaillant Group</vt:lpstr>
      <vt:lpstr>think-cell Slide</vt:lpstr>
      <vt:lpstr>Finansal Süpürme Projesi</vt:lpstr>
      <vt:lpstr>Project Information</vt:lpstr>
      <vt:lpstr>Project Challenges</vt:lpstr>
      <vt:lpstr>Project Highlights</vt:lpstr>
      <vt:lpstr>Project Completion Criteria</vt:lpstr>
      <vt:lpstr>Outstanding Items</vt:lpstr>
      <vt:lpstr>Lessons Learn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Status Reporting</dc:title>
  <dc:creator>Sahin, Gulcin</dc:creator>
  <cp:lastModifiedBy>Mazlumoglu, Abdurrahim</cp:lastModifiedBy>
  <cp:revision>20</cp:revision>
  <dcterms:created xsi:type="dcterms:W3CDTF">2021-01-13T14:15:58Z</dcterms:created>
  <dcterms:modified xsi:type="dcterms:W3CDTF">2023-10-27T22:2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0F7712F7202F43B2C7DEC1DF8C2AB3</vt:lpwstr>
  </property>
  <property fmtid="{D5CDD505-2E9C-101B-9397-08002B2CF9AE}" pid="3" name="MediaServiceImageTags">
    <vt:lpwstr/>
  </property>
</Properties>
</file>